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3" r:id="rId4"/>
  </p:sldMasterIdLst>
  <p:notesMasterIdLst>
    <p:notesMasterId r:id="rId8"/>
  </p:notesMasterIdLst>
  <p:sldIdLst>
    <p:sldId id="256" r:id="rId5"/>
    <p:sldId id="258" r:id="rId6"/>
    <p:sldId id="257" r:id="rId7"/>
  </p:sldIdLst>
  <p:sldSz cx="12192000" cy="6858000"/>
  <p:notesSz cx="6858000" cy="9144000"/>
  <p:custDataLst>
    <p:tags r:id="rId9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E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78" autoAdjust="0"/>
    <p:restoredTop sz="86385" autoAdjust="0"/>
  </p:normalViewPr>
  <p:slideViewPr>
    <p:cSldViewPr snapToGrid="0">
      <p:cViewPr varScale="1">
        <p:scale>
          <a:sx n="53" d="100"/>
          <a:sy n="53" d="100"/>
        </p:scale>
        <p:origin x="56" y="1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C6C2909-A1D4-9941-6C5D-11CB25560CA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512F19-6492-DA47-953D-143B592A786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E6E06791-CDBF-A647-8444-DF777B63999E}" type="datetimeFigureOut">
              <a:rPr lang="en-US"/>
              <a:pPr>
                <a:defRPr/>
              </a:pPr>
              <a:t>12/5/2023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6C2EAD5-306E-5D6B-3A8C-A7EBFA142B0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38FADCA2-986A-8495-B1A1-055029DE9D2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455A8D-F194-1CEF-E639-BFD13897CF7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768ED3-560E-1E75-C627-0F6EDF1640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B06726BC-5D2B-5E4B-962F-582EB5C042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6C5E6E-A3B5-28F6-5467-664224D6723F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E0AB8EA-4C1B-8073-90A1-AD8D430842B0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872DB006-DED8-B3A4-0A02-7E4926391128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26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footer sectio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4038FD0-2570-F82C-50C4-C27E118E5F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4038FD0-2570-F82C-50C4-C27E118E5F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DD4F447-8CA9-33BE-E377-5978DF6D4F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013" y="563400"/>
            <a:ext cx="7994029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BEC0D80-ACF4-7430-3072-19DF10A247CE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34AFB1C-29CD-EE37-0F27-4494966F87D7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CA2D7B74-282B-194E-0ED8-4C71716DF75F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90255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ith footer sectio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4038FD0-2570-F82C-50C4-C27E118E5F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4038FD0-2570-F82C-50C4-C27E118E5F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B458B4A-1704-7FAA-2888-97123A65B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718D453-6C57-8EC0-16EC-5EFF8D99BCAA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9D25133-DCA6-2ABC-7DB5-76855BF59194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BD90D56-76BE-4F7A-4603-AF9A76AC10CC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3901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statement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204378" y="2918572"/>
            <a:ext cx="7369175" cy="7255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FDB2D23-034C-04DF-F0B8-35C8FC0CA860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EA9DFDF-C584-E267-00FE-04B3DAF20817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2DAF798-BB59-22A2-3DDD-F643634B4150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41283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statement blu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411412" y="2918572"/>
            <a:ext cx="7369175" cy="7255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1F60915-5A9C-9538-BDEF-B194B6AAA1A8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0012283-4C26-CF27-7E58-30DD0589316A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7D4C270-0891-646C-B879-87908F440F27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678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statement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204378" y="2918572"/>
            <a:ext cx="7369175" cy="7255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FEA6016-817E-0DBA-9DBD-AAF3167A0A23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35810A-E7BD-AFD0-E408-348D0BF08767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B04377B0-00CF-5B3F-0C1E-65DB58846F60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8258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 OHSEL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DFB090E-9611-6925-01EE-D6209A003E33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344032B-FE5E-9C55-F32A-99AE2E54A0BC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613C4FB-4822-22B8-E305-4CFD30283FA3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5833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D6DB55B-A613-D024-7343-93B00B10F84B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E5EBD95-027C-8159-D819-6DEB9FA2CE35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1E763463-3BAA-29DA-A582-2A02877FA635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49773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F1412AA-C8C3-0432-1E61-C819267C0A67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30E901-C0C7-4FA5-69EA-11B1CD5583A2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9AA3706C-C5FA-31BC-6A5B-AE0C4F53F1A7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1372183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94F00F9-FD56-EDDE-6984-E141C4954B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9207" y="563400"/>
            <a:ext cx="6118168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Services in Greenwich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85EBAB6C-AB16-7663-829B-C94952B7DA3F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  <p:pic>
        <p:nvPicPr>
          <p:cNvPr id="3" name="Picture 2" descr="A logo for a healthier greenwich partnership&#10;&#10;Description automatically generated">
            <a:extLst>
              <a:ext uri="{FF2B5EF4-FFF2-40B4-BE49-F238E27FC236}">
                <a16:creationId xmlns:a16="http://schemas.microsoft.com/office/drawing/2014/main" id="{1BB8DB56-A838-DBEF-1896-E974E398E6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14686" b="18100"/>
          <a:stretch/>
        </p:blipFill>
        <p:spPr>
          <a:xfrm>
            <a:off x="8850284" y="162439"/>
            <a:ext cx="3341716" cy="1123056"/>
          </a:xfrm>
          <a:prstGeom prst="rect">
            <a:avLst/>
          </a:prstGeom>
        </p:spPr>
      </p:pic>
      <p:pic>
        <p:nvPicPr>
          <p:cNvPr id="6" name="Picture 5" descr="A blue and white logo&#10;&#10;Description automatically generated">
            <a:extLst>
              <a:ext uri="{FF2B5EF4-FFF2-40B4-BE49-F238E27FC236}">
                <a16:creationId xmlns:a16="http://schemas.microsoft.com/office/drawing/2014/main" id="{0994DF86-2210-2FE0-45D1-410B8110F60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54013" y="423369"/>
            <a:ext cx="2119982" cy="862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3467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A30205A-CB70-50C1-E147-5EAE15B0D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7446CBE-126E-800C-E5E5-FD0DD2E066EC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BE7BB5A-BDAD-78BF-EC62-FC31AE7D9EE4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D45EBBEB-B316-5734-87ED-43B0290E3925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90341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D7DDF92-55D2-78E4-26D7-7AA8751BE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FC4758F-B40E-0217-624A-3B5C92353765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74F3BAB-F7AF-FEA3-D8F1-37EF359E3740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53CF9980-576A-4D43-3FA9-7CDAE7A78383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9192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B72277B-7A2D-22ED-C8AB-644257FA00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B702D18-87A3-B504-A14A-C13785EB6489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199520C-19A2-D0B3-046A-929448DAA6CF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0B17F740-BE4A-4AB6-C8DB-F30AF3319D06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15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61E7A0A-806F-0072-E9CF-DB48F2F609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08CAF1E-D7AA-58D0-92DB-2143E324ACFA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830A70-0A58-54BF-4749-DF66557CBFB8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 dirty="0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 dirty="0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BD184735-877E-7480-EA1A-719608F97138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0402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id="{68FF4BEC-E65A-6F08-D64C-F02B55D18DD7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8100" imgH="38100" progId="TCLayout.ActiveDocument.1">
                  <p:embed/>
                </p:oleObj>
              </mc:Choice>
              <mc:Fallback>
                <p:oleObj name="think-cell Slide" r:id="rId17" imgW="38100" imgH="38100" progId="TCLayout.ActiveDocument.1">
                  <p:embed/>
                  <p:pic>
                    <p:nvPicPr>
                      <p:cNvPr id="1026" name="Object 1" hidden="1">
                        <a:extLst>
                          <a:ext uri="{FF2B5EF4-FFF2-40B4-BE49-F238E27FC236}">
                            <a16:creationId xmlns:a16="http://schemas.microsoft.com/office/drawing/2014/main" id="{68FF4BEC-E65A-6F08-D64C-F02B55D18D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93" r:id="rId6"/>
    <p:sldLayoutId id="2147483695" r:id="rId7"/>
    <p:sldLayoutId id="2147483694" r:id="rId8"/>
    <p:sldLayoutId id="2147483696" r:id="rId9"/>
    <p:sldLayoutId id="2147483689" r:id="rId10"/>
    <p:sldLayoutId id="2147483692" r:id="rId11"/>
    <p:sldLayoutId id="2147483690" r:id="rId12"/>
    <p:sldLayoutId id="2147483691" r:id="rId13"/>
    <p:sldLayoutId id="2147483716" r:id="rId14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letstalkhealthandcareselondon.org/" TargetMode="Externa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868B9E-A413-CF2E-5972-D9861020A76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59924" y="1525251"/>
            <a:ext cx="4542817" cy="3056477"/>
          </a:xfrm>
        </p:spPr>
        <p:txBody>
          <a:bodyPr/>
          <a:lstStyle/>
          <a:p>
            <a:pPr marL="0" indent="0">
              <a:buNone/>
            </a:pPr>
            <a:r>
              <a:rPr lang="en-US" dirty="0" err="1">
                <a:highlight>
                  <a:srgbClr val="FFFF00"/>
                </a:highlight>
              </a:rPr>
              <a:t>Oxleas</a:t>
            </a:r>
            <a:r>
              <a:rPr lang="en-US" dirty="0">
                <a:highlight>
                  <a:srgbClr val="FFFF00"/>
                </a:highlight>
              </a:rPr>
              <a:t> NHS Foundation Trust:</a:t>
            </a:r>
          </a:p>
          <a:p>
            <a:r>
              <a:rPr lang="en-US" dirty="0"/>
              <a:t>Mental health services</a:t>
            </a:r>
            <a:br>
              <a:rPr lang="en-US" dirty="0"/>
            </a:br>
            <a:r>
              <a:rPr lang="en-US" dirty="0"/>
              <a:t>- Children and young people</a:t>
            </a:r>
            <a:br>
              <a:rPr lang="en-GB" dirty="0"/>
            </a:br>
            <a:r>
              <a:rPr lang="en-GB" dirty="0"/>
              <a:t>- adults</a:t>
            </a:r>
            <a:br>
              <a:rPr lang="en-GB" dirty="0"/>
            </a:br>
            <a:r>
              <a:rPr lang="en-GB" dirty="0"/>
              <a:t>- older adults</a:t>
            </a:r>
          </a:p>
          <a:p>
            <a:r>
              <a:rPr lang="en-GB" dirty="0"/>
              <a:t>Learning disability services</a:t>
            </a:r>
          </a:p>
          <a:p>
            <a:r>
              <a:rPr lang="en-GB" dirty="0"/>
              <a:t>Community health services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71ACA1-FDB6-C55B-D808-95F4A8AFC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rganisations</a:t>
            </a:r>
            <a:r>
              <a:rPr lang="en-US" dirty="0"/>
              <a:t> in Greenwich</a:t>
            </a:r>
            <a:endParaRPr lang="en-GB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6B506829-1A1B-2447-BEF0-C6AED4C60194}"/>
              </a:ext>
            </a:extLst>
          </p:cNvPr>
          <p:cNvSpPr txBox="1">
            <a:spLocks/>
          </p:cNvSpPr>
          <p:nvPr/>
        </p:nvSpPr>
        <p:spPr>
          <a:xfrm>
            <a:off x="4821677" y="1525250"/>
            <a:ext cx="4542817" cy="2219899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highlight>
                  <a:srgbClr val="FFFF00"/>
                </a:highlight>
              </a:rPr>
              <a:t>Lewisham and Greenwich NHS Trust:</a:t>
            </a:r>
          </a:p>
          <a:p>
            <a:r>
              <a:rPr lang="en-US" dirty="0"/>
              <a:t>Acute hospital services</a:t>
            </a:r>
            <a:br>
              <a:rPr lang="en-US" dirty="0"/>
            </a:br>
            <a:r>
              <a:rPr lang="en-US" dirty="0"/>
              <a:t>- Queen Elizabeth Hospital</a:t>
            </a:r>
            <a:br>
              <a:rPr lang="en-US" dirty="0"/>
            </a:br>
            <a:r>
              <a:rPr lang="en-US" dirty="0"/>
              <a:t>- University Lewisham Hospita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CA7B5E6B-3C84-61EE-FA16-0C14F46E2650}"/>
              </a:ext>
            </a:extLst>
          </p:cNvPr>
          <p:cNvSpPr txBox="1">
            <a:spLocks/>
          </p:cNvSpPr>
          <p:nvPr/>
        </p:nvSpPr>
        <p:spPr>
          <a:xfrm>
            <a:off x="4909226" y="3968260"/>
            <a:ext cx="4542817" cy="2728979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highlight>
                  <a:srgbClr val="FFFF00"/>
                </a:highlight>
              </a:rPr>
              <a:t>Primary Care</a:t>
            </a:r>
          </a:p>
          <a:p>
            <a:r>
              <a:rPr lang="en-US" dirty="0"/>
              <a:t>29 GP Practices</a:t>
            </a:r>
          </a:p>
          <a:p>
            <a:r>
              <a:rPr lang="en-US" dirty="0"/>
              <a:t>7 Primary Care Networks</a:t>
            </a:r>
          </a:p>
          <a:p>
            <a:r>
              <a:rPr lang="en-US" dirty="0"/>
              <a:t>1 GP Federation, Greenwich Health </a:t>
            </a:r>
          </a:p>
          <a:p>
            <a:r>
              <a:rPr lang="en-US" dirty="0"/>
              <a:t>NHS Dentists</a:t>
            </a:r>
            <a:br>
              <a:rPr lang="en-US" dirty="0"/>
            </a:br>
            <a:endParaRPr lang="en-US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20855F4B-A0FB-C8D5-0668-4D75F5A502EF}"/>
              </a:ext>
            </a:extLst>
          </p:cNvPr>
          <p:cNvSpPr txBox="1">
            <a:spLocks/>
          </p:cNvSpPr>
          <p:nvPr/>
        </p:nvSpPr>
        <p:spPr>
          <a:xfrm>
            <a:off x="278860" y="4469490"/>
            <a:ext cx="4542817" cy="2067498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highlight>
                  <a:srgbClr val="FFFF00"/>
                </a:highlight>
              </a:rPr>
              <a:t>NHS South East London ICB:</a:t>
            </a:r>
          </a:p>
          <a:p>
            <a:r>
              <a:rPr lang="en-US" dirty="0"/>
              <a:t>Bring together partners to plan and provide services</a:t>
            </a:r>
          </a:p>
          <a:p>
            <a:r>
              <a:rPr lang="en-US" dirty="0"/>
              <a:t>Responsible for allocating NHS resourc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3672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F71ACA1-FDB6-C55B-D808-95F4A8AFC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shared priority areas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F8F0BB1-DAF4-13F4-C232-D590496876E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92" t="26758" r="66098" b="15585"/>
          <a:stretch/>
        </p:blipFill>
        <p:spPr bwMode="auto">
          <a:xfrm>
            <a:off x="2911642" y="133373"/>
            <a:ext cx="8951495" cy="672462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29F80A31-7541-C6FD-BF2F-1D6ACD828D2A}"/>
              </a:ext>
            </a:extLst>
          </p:cNvPr>
          <p:cNvSpPr txBox="1">
            <a:spLocks/>
          </p:cNvSpPr>
          <p:nvPr/>
        </p:nvSpPr>
        <p:spPr>
          <a:xfrm>
            <a:off x="298094" y="1846769"/>
            <a:ext cx="3179035" cy="662782"/>
          </a:xfrm>
          <a:prstGeom prst="rect">
            <a:avLst/>
          </a:prstGeom>
        </p:spPr>
        <p:txBody>
          <a:bodyPr vert="horz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 kern="1200">
                <a:solidFill>
                  <a:srgbClr val="013C5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en-US" dirty="0"/>
              <a:t>Our shared prioriti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37973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4868B9E-A413-CF2E-5972-D9861020A76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59924" y="1525251"/>
            <a:ext cx="4542817" cy="3056477"/>
          </a:xfrm>
        </p:spPr>
        <p:txBody>
          <a:bodyPr/>
          <a:lstStyle/>
          <a:p>
            <a:pPr marL="0" indent="0">
              <a:buNone/>
            </a:pPr>
            <a:r>
              <a:rPr lang="en-US" dirty="0" err="1">
                <a:highlight>
                  <a:srgbClr val="FFFF00"/>
                </a:highlight>
              </a:rPr>
              <a:t>Oxleas</a:t>
            </a:r>
            <a:r>
              <a:rPr lang="en-US" dirty="0">
                <a:highlight>
                  <a:srgbClr val="FFFF00"/>
                </a:highlight>
              </a:rPr>
              <a:t> NHS Foundation Trust:</a:t>
            </a:r>
          </a:p>
          <a:p>
            <a:r>
              <a:rPr lang="en-US" dirty="0"/>
              <a:t>Join as a member</a:t>
            </a:r>
          </a:p>
          <a:p>
            <a:r>
              <a:rPr lang="en-US" dirty="0"/>
              <a:t>Join the Involvement Hub</a:t>
            </a:r>
          </a:p>
          <a:p>
            <a:r>
              <a:rPr lang="en-US" dirty="0"/>
              <a:t>Co-produce service improvements</a:t>
            </a:r>
          </a:p>
          <a:p>
            <a:r>
              <a:rPr lang="en-US" dirty="0"/>
              <a:t>Adult Community Services Service User Reference Group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71ACA1-FDB6-C55B-D808-95F4A8AFC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of the ways you can get involved</a:t>
            </a:r>
            <a:endParaRPr lang="en-GB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6B506829-1A1B-2447-BEF0-C6AED4C60194}"/>
              </a:ext>
            </a:extLst>
          </p:cNvPr>
          <p:cNvSpPr txBox="1">
            <a:spLocks/>
          </p:cNvSpPr>
          <p:nvPr/>
        </p:nvSpPr>
        <p:spPr>
          <a:xfrm>
            <a:off x="319392" y="4793489"/>
            <a:ext cx="4542817" cy="2219899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highlight>
                  <a:srgbClr val="FFFF00"/>
                </a:highlight>
              </a:rPr>
              <a:t>Lewisham and Greenwich NHS Trust:</a:t>
            </a:r>
          </a:p>
          <a:p>
            <a:r>
              <a:rPr lang="en-US" dirty="0"/>
              <a:t>Join the Youth Board</a:t>
            </a:r>
          </a:p>
          <a:p>
            <a:r>
              <a:rPr lang="en-US" dirty="0"/>
              <a:t>Queen Elizabeth Hospital Patient User Group</a:t>
            </a:r>
          </a:p>
          <a:p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CA7B5E6B-3C84-61EE-FA16-0C14F46E2650}"/>
              </a:ext>
            </a:extLst>
          </p:cNvPr>
          <p:cNvSpPr txBox="1">
            <a:spLocks/>
          </p:cNvSpPr>
          <p:nvPr/>
        </p:nvSpPr>
        <p:spPr>
          <a:xfrm>
            <a:off x="5017852" y="1525252"/>
            <a:ext cx="4542817" cy="1604680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highlight>
                  <a:srgbClr val="FFFF00"/>
                </a:highlight>
              </a:rPr>
              <a:t>Primary Care</a:t>
            </a:r>
          </a:p>
          <a:p>
            <a:r>
              <a:rPr lang="en-US" dirty="0"/>
              <a:t>Each GP Practice has a Patient Participation Group</a:t>
            </a: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20855F4B-A0FB-C8D5-0668-4D75F5A502EF}"/>
              </a:ext>
            </a:extLst>
          </p:cNvPr>
          <p:cNvSpPr txBox="1">
            <a:spLocks/>
          </p:cNvSpPr>
          <p:nvPr/>
        </p:nvSpPr>
        <p:spPr>
          <a:xfrm>
            <a:off x="4862209" y="3429000"/>
            <a:ext cx="4542817" cy="2067498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13C5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highlight>
                  <a:srgbClr val="FFFF00"/>
                </a:highlight>
              </a:rPr>
              <a:t>NHS South East London ICB:</a:t>
            </a:r>
          </a:p>
          <a:p>
            <a:r>
              <a:rPr lang="en-US" dirty="0"/>
              <a:t>Join at </a:t>
            </a:r>
            <a:r>
              <a:rPr lang="en-US" sz="1600" dirty="0">
                <a:hlinkClick r:id="rId2"/>
              </a:rPr>
              <a:t>https://letstalkhealthandcareselondon.org/</a:t>
            </a:r>
            <a:endParaRPr lang="en-US" sz="1600" dirty="0"/>
          </a:p>
          <a:p>
            <a:r>
              <a:rPr lang="en-US" dirty="0"/>
              <a:t>Add your details to the sheet</a:t>
            </a:r>
          </a:p>
          <a:p>
            <a:r>
              <a:rPr lang="en-US" dirty="0"/>
              <a:t>Become a Community Champion</a:t>
            </a:r>
          </a:p>
          <a:p>
            <a:r>
              <a:rPr lang="en-US" dirty="0"/>
              <a:t>Join </a:t>
            </a:r>
            <a:r>
              <a:rPr lang="en-US" dirty="0" err="1"/>
              <a:t>neighbourhood</a:t>
            </a:r>
            <a:r>
              <a:rPr lang="en-US" dirty="0"/>
              <a:t> development work in your area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36182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  -  Compatibility Mode" id="{C8D68B3C-46FE-8A44-B1C6-695B798B8244}" vid="{D602DA36-49CC-6743-9D3E-2F4DC04F358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0918bfa-692a-4922-b76d-02f98a2a4b44">
      <Terms xmlns="http://schemas.microsoft.com/office/infopath/2007/PartnerControls"/>
    </lcf76f155ced4ddcb4097134ff3c332f>
    <TaxCatchAll xmlns="ad159358-9462-4e9b-ae8b-85b0e6b0b597" xsi:nil="true"/>
    <MediaLengthInSeconds xmlns="a0918bfa-692a-4922-b76d-02f98a2a4b44" xsi:nil="true"/>
    <SharedWithUsers xmlns="ad159358-9462-4e9b-ae8b-85b0e6b0b597">
      <UserInfo>
        <DisplayName/>
        <AccountId xsi:nil="true"/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953E1FAAA4174DA32B083DE535723A" ma:contentTypeVersion="17" ma:contentTypeDescription="Create a new document." ma:contentTypeScope="" ma:versionID="01c6057ff1a67d0fc687a6803ffbfdfb">
  <xsd:schema xmlns:xsd="http://www.w3.org/2001/XMLSchema" xmlns:xs="http://www.w3.org/2001/XMLSchema" xmlns:p="http://schemas.microsoft.com/office/2006/metadata/properties" xmlns:ns2="a0918bfa-692a-4922-b76d-02f98a2a4b44" xmlns:ns3="ad159358-9462-4e9b-ae8b-85b0e6b0b597" targetNamespace="http://schemas.microsoft.com/office/2006/metadata/properties" ma:root="true" ma:fieldsID="458b8252e166cad2a7112369758ff33a" ns2:_="" ns3:_="">
    <xsd:import namespace="a0918bfa-692a-4922-b76d-02f98a2a4b44"/>
    <xsd:import namespace="ad159358-9462-4e9b-ae8b-85b0e6b0b59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bjectDetectorVersion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918bfa-692a-4922-b76d-02f98a2a4b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3bae60f5-b7ad-4981-a8ef-0360d6a367c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159358-9462-4e9b-ae8b-85b0e6b0b597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331a92c1-4f56-4a99-a57a-621324e0f57d}" ma:internalName="TaxCatchAll" ma:showField="CatchAllData" ma:web="ad159358-9462-4e9b-ae8b-85b0e6b0b59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109BEA6-CA7B-4FBD-8BBB-290507871B3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A9066BB-6E68-4A9D-9848-A5363CFD3E4F}">
  <ds:schemaRefs>
    <ds:schemaRef ds:uri="9665b79a-0338-48fd-a2d6-3951c001299f"/>
    <ds:schemaRef ds:uri="ca38f9bd-10fb-4469-b523-de08287e2ac0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6C0639DE-03A5-47A2-A927-44D31D724DB1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35</TotalTime>
  <Words>181</Words>
  <Application>Microsoft Office PowerPoint</Application>
  <PresentationFormat>Widescreen</PresentationFormat>
  <Paragraphs>33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alibri</vt:lpstr>
      <vt:lpstr>Calibri Light</vt:lpstr>
      <vt:lpstr>Office Theme</vt:lpstr>
      <vt:lpstr>think-cell Slide</vt:lpstr>
      <vt:lpstr>Organisations in Greenwich</vt:lpstr>
      <vt:lpstr>Our shared priority areas</vt:lpstr>
      <vt:lpstr>Some of the ways you can get involve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ames Smart</dc:creator>
  <cp:lastModifiedBy>Russell Cartwright (NHS South East London ICB)</cp:lastModifiedBy>
  <cp:revision>9</cp:revision>
  <dcterms:created xsi:type="dcterms:W3CDTF">2022-06-15T14:33:04Z</dcterms:created>
  <dcterms:modified xsi:type="dcterms:W3CDTF">2023-12-06T13:16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953E1FAAA4174DA32B083DE535723A</vt:lpwstr>
  </property>
  <property fmtid="{D5CDD505-2E9C-101B-9397-08002B2CF9AE}" pid="3" name="MediaServiceImageTags">
    <vt:lpwstr/>
  </property>
  <property fmtid="{D5CDD505-2E9C-101B-9397-08002B2CF9AE}" pid="4" name="lcf76f155ced4ddcb4097134ff3c332f">
    <vt:lpwstr/>
  </property>
  <property fmtid="{D5CDD505-2E9C-101B-9397-08002B2CF9AE}" pid="5" name="TaxCatchAll">
    <vt:lpwstr/>
  </property>
  <property fmtid="{D5CDD505-2E9C-101B-9397-08002B2CF9AE}" pid="6" name="_SourceUrl">
    <vt:lpwstr/>
  </property>
  <property fmtid="{D5CDD505-2E9C-101B-9397-08002B2CF9AE}" pid="7" name="_SharedFileIndex">
    <vt:lpwstr/>
  </property>
  <property fmtid="{D5CDD505-2E9C-101B-9397-08002B2CF9AE}" pid="8" name="ComplianceAssetId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</Properties>
</file>